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6"/>
  </p:notesMasterIdLst>
  <p:sldIdLst>
    <p:sldId id="542" r:id="rId3"/>
    <p:sldId id="716" r:id="rId4"/>
    <p:sldId id="676" r:id="rId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00"/>
    <a:srgbClr val="E2001A"/>
    <a:srgbClr val="800000"/>
    <a:srgbClr val="4BB4E6"/>
    <a:srgbClr val="B8EBD6"/>
    <a:srgbClr val="FFB4E6"/>
    <a:srgbClr val="990000"/>
    <a:srgbClr val="9900CC"/>
    <a:srgbClr val="E85127"/>
    <a:srgbClr val="693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Style à thème 2 - Accentuation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Style à thème 2 - Accentuation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6D9F66E-5EB9-4882-86FB-DCBF35E3C3E4}" styleName="Style moyen 4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03447BB-5D67-496B-8E87-E561075AD55C}" styleName="Style foncé 1 - Accentuation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06799F8-075E-4A3A-A7F6-7FBC6576F1A4}" styleName="Style à thème 2 - Accentuation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FD4443E-F989-4FC4-A0C8-D5A2AF1F390B}" styleName="Style foncé 1 - Accentuation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D7AC3CCA-C797-4891-BE02-D94E43425B78}" styleName="Style moye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01" autoAdjust="0"/>
    <p:restoredTop sz="94728" autoAdjust="0"/>
  </p:normalViewPr>
  <p:slideViewPr>
    <p:cSldViewPr snapToGrid="0">
      <p:cViewPr varScale="1">
        <p:scale>
          <a:sx n="78" d="100"/>
          <a:sy n="78" d="100"/>
        </p:scale>
        <p:origin x="730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222C7D-7A4D-4E64-8D8F-579A17140231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5F308E-1E8B-4971-BED4-FA8D2623719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1957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F308E-1E8B-4971-BED4-FA8D2623719B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2380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Freeform: Shape 118">
            <a:extLst>
              <a:ext uri="{FF2B5EF4-FFF2-40B4-BE49-F238E27FC236}">
                <a16:creationId xmlns:a16="http://schemas.microsoft.com/office/drawing/2014/main" id="{169FDCC8-5637-44E4-A743-8811072F1974}"/>
              </a:ext>
            </a:extLst>
          </p:cNvPr>
          <p:cNvSpPr>
            <a:spLocks/>
          </p:cNvSpPr>
          <p:nvPr userDrawn="1"/>
        </p:nvSpPr>
        <p:spPr bwMode="auto">
          <a:xfrm flipV="1">
            <a:off x="0" y="2197780"/>
            <a:ext cx="3048010" cy="3230544"/>
          </a:xfrm>
          <a:custGeom>
            <a:avLst/>
            <a:gdLst>
              <a:gd name="connsiteX0" fmla="*/ 1418673 w 3048010"/>
              <a:gd name="connsiteY0" fmla="*/ 3230491 h 3230544"/>
              <a:gd name="connsiteX1" fmla="*/ 3047643 w 3048010"/>
              <a:gd name="connsiteY1" fmla="*/ 1722376 h 3230544"/>
              <a:gd name="connsiteX2" fmla="*/ 3047949 w 3048010"/>
              <a:gd name="connsiteY2" fmla="*/ 1625143 h 3230544"/>
              <a:gd name="connsiteX3" fmla="*/ 3048010 w 3048010"/>
              <a:gd name="connsiteY3" fmla="*/ 1625143 h 3230544"/>
              <a:gd name="connsiteX4" fmla="*/ 3047979 w 3048010"/>
              <a:gd name="connsiteY4" fmla="*/ 1615272 h 3230544"/>
              <a:gd name="connsiteX5" fmla="*/ 3048010 w 3048010"/>
              <a:gd name="connsiteY5" fmla="*/ 1605401 h 3230544"/>
              <a:gd name="connsiteX6" fmla="*/ 3047949 w 3048010"/>
              <a:gd name="connsiteY6" fmla="*/ 1605401 h 3230544"/>
              <a:gd name="connsiteX7" fmla="*/ 3047643 w 3048010"/>
              <a:gd name="connsiteY7" fmla="*/ 1508168 h 3230544"/>
              <a:gd name="connsiteX8" fmla="*/ 999102 w 3048010"/>
              <a:gd name="connsiteY8" fmla="*/ 50452 h 3230544"/>
              <a:gd name="connsiteX9" fmla="*/ 455 w 3048010"/>
              <a:gd name="connsiteY9" fmla="*/ 75081 h 3230544"/>
              <a:gd name="connsiteX10" fmla="*/ 0 w 3048010"/>
              <a:gd name="connsiteY10" fmla="*/ 74973 h 3230544"/>
              <a:gd name="connsiteX11" fmla="*/ 0 w 3048010"/>
              <a:gd name="connsiteY11" fmla="*/ 3155571 h 3230544"/>
              <a:gd name="connsiteX12" fmla="*/ 455 w 3048010"/>
              <a:gd name="connsiteY12" fmla="*/ 3155463 h 3230544"/>
              <a:gd name="connsiteX13" fmla="*/ 999102 w 3048010"/>
              <a:gd name="connsiteY13" fmla="*/ 3180092 h 3230544"/>
              <a:gd name="connsiteX14" fmla="*/ 1418673 w 3048010"/>
              <a:gd name="connsiteY14" fmla="*/ 3230491 h 3230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048010" h="3230544">
                <a:moveTo>
                  <a:pt x="1418673" y="3230491"/>
                </a:moveTo>
                <a:cubicBezTo>
                  <a:pt x="2357323" y="3237734"/>
                  <a:pt x="2999369" y="2505323"/>
                  <a:pt x="3047643" y="1722376"/>
                </a:cubicBezTo>
                <a:lnTo>
                  <a:pt x="3047949" y="1625143"/>
                </a:lnTo>
                <a:lnTo>
                  <a:pt x="3048010" y="1625143"/>
                </a:lnTo>
                <a:lnTo>
                  <a:pt x="3047979" y="1615272"/>
                </a:lnTo>
                <a:lnTo>
                  <a:pt x="3048010" y="1605401"/>
                </a:lnTo>
                <a:lnTo>
                  <a:pt x="3047949" y="1605401"/>
                </a:lnTo>
                <a:lnTo>
                  <a:pt x="3047643" y="1508168"/>
                </a:lnTo>
                <a:cubicBezTo>
                  <a:pt x="2992473" y="613371"/>
                  <a:pt x="2161764" y="-215419"/>
                  <a:pt x="999102" y="50452"/>
                </a:cubicBezTo>
                <a:cubicBezTo>
                  <a:pt x="611548" y="139076"/>
                  <a:pt x="277117" y="129768"/>
                  <a:pt x="455" y="75081"/>
                </a:cubicBezTo>
                <a:lnTo>
                  <a:pt x="0" y="74973"/>
                </a:lnTo>
                <a:lnTo>
                  <a:pt x="0" y="3155571"/>
                </a:lnTo>
                <a:lnTo>
                  <a:pt x="455" y="3155463"/>
                </a:lnTo>
                <a:cubicBezTo>
                  <a:pt x="277117" y="3100776"/>
                  <a:pt x="611548" y="3091469"/>
                  <a:pt x="999102" y="3180092"/>
                </a:cubicBezTo>
                <a:cubicBezTo>
                  <a:pt x="1144435" y="3213326"/>
                  <a:pt x="1284581" y="3229456"/>
                  <a:pt x="1418673" y="3230491"/>
                </a:cubicBezTo>
                <a:close/>
              </a:path>
            </a:pathLst>
          </a:custGeom>
          <a:gradFill flip="none" rotWithShape="1">
            <a:gsLst>
              <a:gs pos="0">
                <a:srgbClr val="800000">
                  <a:tint val="66000"/>
                  <a:satMod val="160000"/>
                </a:srgbClr>
              </a:gs>
              <a:gs pos="50000">
                <a:srgbClr val="800000">
                  <a:tint val="44500"/>
                  <a:satMod val="160000"/>
                </a:srgbClr>
              </a:gs>
              <a:gs pos="100000">
                <a:srgbClr val="800000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542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92224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Freeform: Shape 118">
            <a:extLst>
              <a:ext uri="{FF2B5EF4-FFF2-40B4-BE49-F238E27FC236}">
                <a16:creationId xmlns:a16="http://schemas.microsoft.com/office/drawing/2014/main" id="{169FDCC8-5637-44E4-A743-8811072F1974}"/>
              </a:ext>
            </a:extLst>
          </p:cNvPr>
          <p:cNvSpPr>
            <a:spLocks/>
          </p:cNvSpPr>
          <p:nvPr userDrawn="1"/>
        </p:nvSpPr>
        <p:spPr bwMode="auto">
          <a:xfrm flipV="1">
            <a:off x="0" y="2197780"/>
            <a:ext cx="3048010" cy="3230544"/>
          </a:xfrm>
          <a:custGeom>
            <a:avLst/>
            <a:gdLst>
              <a:gd name="connsiteX0" fmla="*/ 1418673 w 3048010"/>
              <a:gd name="connsiteY0" fmla="*/ 3230491 h 3230544"/>
              <a:gd name="connsiteX1" fmla="*/ 3047643 w 3048010"/>
              <a:gd name="connsiteY1" fmla="*/ 1722376 h 3230544"/>
              <a:gd name="connsiteX2" fmla="*/ 3047949 w 3048010"/>
              <a:gd name="connsiteY2" fmla="*/ 1625143 h 3230544"/>
              <a:gd name="connsiteX3" fmla="*/ 3048010 w 3048010"/>
              <a:gd name="connsiteY3" fmla="*/ 1625143 h 3230544"/>
              <a:gd name="connsiteX4" fmla="*/ 3047979 w 3048010"/>
              <a:gd name="connsiteY4" fmla="*/ 1615272 h 3230544"/>
              <a:gd name="connsiteX5" fmla="*/ 3048010 w 3048010"/>
              <a:gd name="connsiteY5" fmla="*/ 1605401 h 3230544"/>
              <a:gd name="connsiteX6" fmla="*/ 3047949 w 3048010"/>
              <a:gd name="connsiteY6" fmla="*/ 1605401 h 3230544"/>
              <a:gd name="connsiteX7" fmla="*/ 3047643 w 3048010"/>
              <a:gd name="connsiteY7" fmla="*/ 1508168 h 3230544"/>
              <a:gd name="connsiteX8" fmla="*/ 999102 w 3048010"/>
              <a:gd name="connsiteY8" fmla="*/ 50452 h 3230544"/>
              <a:gd name="connsiteX9" fmla="*/ 455 w 3048010"/>
              <a:gd name="connsiteY9" fmla="*/ 75081 h 3230544"/>
              <a:gd name="connsiteX10" fmla="*/ 0 w 3048010"/>
              <a:gd name="connsiteY10" fmla="*/ 74973 h 3230544"/>
              <a:gd name="connsiteX11" fmla="*/ 0 w 3048010"/>
              <a:gd name="connsiteY11" fmla="*/ 3155571 h 3230544"/>
              <a:gd name="connsiteX12" fmla="*/ 455 w 3048010"/>
              <a:gd name="connsiteY12" fmla="*/ 3155463 h 3230544"/>
              <a:gd name="connsiteX13" fmla="*/ 999102 w 3048010"/>
              <a:gd name="connsiteY13" fmla="*/ 3180092 h 3230544"/>
              <a:gd name="connsiteX14" fmla="*/ 1418673 w 3048010"/>
              <a:gd name="connsiteY14" fmla="*/ 3230491 h 3230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048010" h="3230544">
                <a:moveTo>
                  <a:pt x="1418673" y="3230491"/>
                </a:moveTo>
                <a:cubicBezTo>
                  <a:pt x="2357323" y="3237734"/>
                  <a:pt x="2999369" y="2505323"/>
                  <a:pt x="3047643" y="1722376"/>
                </a:cubicBezTo>
                <a:lnTo>
                  <a:pt x="3047949" y="1625143"/>
                </a:lnTo>
                <a:lnTo>
                  <a:pt x="3048010" y="1625143"/>
                </a:lnTo>
                <a:lnTo>
                  <a:pt x="3047979" y="1615272"/>
                </a:lnTo>
                <a:lnTo>
                  <a:pt x="3048010" y="1605401"/>
                </a:lnTo>
                <a:lnTo>
                  <a:pt x="3047949" y="1605401"/>
                </a:lnTo>
                <a:lnTo>
                  <a:pt x="3047643" y="1508168"/>
                </a:lnTo>
                <a:cubicBezTo>
                  <a:pt x="2992473" y="613371"/>
                  <a:pt x="2161764" y="-215419"/>
                  <a:pt x="999102" y="50452"/>
                </a:cubicBezTo>
                <a:cubicBezTo>
                  <a:pt x="611548" y="139076"/>
                  <a:pt x="277117" y="129768"/>
                  <a:pt x="455" y="75081"/>
                </a:cubicBezTo>
                <a:lnTo>
                  <a:pt x="0" y="74973"/>
                </a:lnTo>
                <a:lnTo>
                  <a:pt x="0" y="3155571"/>
                </a:lnTo>
                <a:lnTo>
                  <a:pt x="455" y="3155463"/>
                </a:lnTo>
                <a:cubicBezTo>
                  <a:pt x="277117" y="3100776"/>
                  <a:pt x="611548" y="3091469"/>
                  <a:pt x="999102" y="3180092"/>
                </a:cubicBezTo>
                <a:cubicBezTo>
                  <a:pt x="1144435" y="3213326"/>
                  <a:pt x="1284581" y="3229456"/>
                  <a:pt x="1418673" y="3230491"/>
                </a:cubicBezTo>
                <a:close/>
              </a:path>
            </a:pathLst>
          </a:custGeom>
          <a:gradFill flip="none" rotWithShape="1">
            <a:gsLst>
              <a:gs pos="0">
                <a:srgbClr val="800000">
                  <a:tint val="66000"/>
                  <a:satMod val="160000"/>
                </a:srgbClr>
              </a:gs>
              <a:gs pos="50000">
                <a:srgbClr val="800000">
                  <a:tint val="44500"/>
                  <a:satMod val="160000"/>
                </a:srgbClr>
              </a:gs>
              <a:gs pos="100000">
                <a:srgbClr val="800000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179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6457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9540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2085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20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380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091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3934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257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80226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8651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9323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275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2857"/>
            <a:ext cx="5949685" cy="1470025"/>
          </a:xfrm>
        </p:spPr>
        <p:txBody>
          <a:bodyPr/>
          <a:lstStyle/>
          <a:p>
            <a:r>
              <a:rPr lang="fr-FR" dirty="0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650793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97671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5213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8202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89433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46871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3381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7827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BC6747-D400-4AB4-B1AD-3CE8D4610A2E}" type="datetimeFigureOut">
              <a:rPr lang="fr-FR" smtClean="0"/>
              <a:pPr/>
              <a:t>03/10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098E6C-35DE-4299-9817-4A72F0EAE6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Freeform: Shape 118">
            <a:extLst>
              <a:ext uri="{FF2B5EF4-FFF2-40B4-BE49-F238E27FC236}">
                <a16:creationId xmlns:a16="http://schemas.microsoft.com/office/drawing/2014/main" id="{169FDCC8-5637-44E4-A743-8811072F1974}"/>
              </a:ext>
            </a:extLst>
          </p:cNvPr>
          <p:cNvSpPr>
            <a:spLocks/>
          </p:cNvSpPr>
          <p:nvPr userDrawn="1"/>
        </p:nvSpPr>
        <p:spPr bwMode="auto">
          <a:xfrm flipV="1">
            <a:off x="0" y="2197780"/>
            <a:ext cx="3048010" cy="3230544"/>
          </a:xfrm>
          <a:custGeom>
            <a:avLst/>
            <a:gdLst>
              <a:gd name="connsiteX0" fmla="*/ 1418673 w 3048010"/>
              <a:gd name="connsiteY0" fmla="*/ 3230491 h 3230544"/>
              <a:gd name="connsiteX1" fmla="*/ 3047643 w 3048010"/>
              <a:gd name="connsiteY1" fmla="*/ 1722376 h 3230544"/>
              <a:gd name="connsiteX2" fmla="*/ 3047949 w 3048010"/>
              <a:gd name="connsiteY2" fmla="*/ 1625143 h 3230544"/>
              <a:gd name="connsiteX3" fmla="*/ 3048010 w 3048010"/>
              <a:gd name="connsiteY3" fmla="*/ 1625143 h 3230544"/>
              <a:gd name="connsiteX4" fmla="*/ 3047979 w 3048010"/>
              <a:gd name="connsiteY4" fmla="*/ 1615272 h 3230544"/>
              <a:gd name="connsiteX5" fmla="*/ 3048010 w 3048010"/>
              <a:gd name="connsiteY5" fmla="*/ 1605401 h 3230544"/>
              <a:gd name="connsiteX6" fmla="*/ 3047949 w 3048010"/>
              <a:gd name="connsiteY6" fmla="*/ 1605401 h 3230544"/>
              <a:gd name="connsiteX7" fmla="*/ 3047643 w 3048010"/>
              <a:gd name="connsiteY7" fmla="*/ 1508168 h 3230544"/>
              <a:gd name="connsiteX8" fmla="*/ 999102 w 3048010"/>
              <a:gd name="connsiteY8" fmla="*/ 50452 h 3230544"/>
              <a:gd name="connsiteX9" fmla="*/ 455 w 3048010"/>
              <a:gd name="connsiteY9" fmla="*/ 75081 h 3230544"/>
              <a:gd name="connsiteX10" fmla="*/ 0 w 3048010"/>
              <a:gd name="connsiteY10" fmla="*/ 74973 h 3230544"/>
              <a:gd name="connsiteX11" fmla="*/ 0 w 3048010"/>
              <a:gd name="connsiteY11" fmla="*/ 3155571 h 3230544"/>
              <a:gd name="connsiteX12" fmla="*/ 455 w 3048010"/>
              <a:gd name="connsiteY12" fmla="*/ 3155463 h 3230544"/>
              <a:gd name="connsiteX13" fmla="*/ 999102 w 3048010"/>
              <a:gd name="connsiteY13" fmla="*/ 3180092 h 3230544"/>
              <a:gd name="connsiteX14" fmla="*/ 1418673 w 3048010"/>
              <a:gd name="connsiteY14" fmla="*/ 3230491 h 3230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048010" h="3230544">
                <a:moveTo>
                  <a:pt x="1418673" y="3230491"/>
                </a:moveTo>
                <a:cubicBezTo>
                  <a:pt x="2357323" y="3237734"/>
                  <a:pt x="2999369" y="2505323"/>
                  <a:pt x="3047643" y="1722376"/>
                </a:cubicBezTo>
                <a:lnTo>
                  <a:pt x="3047949" y="1625143"/>
                </a:lnTo>
                <a:lnTo>
                  <a:pt x="3048010" y="1625143"/>
                </a:lnTo>
                <a:lnTo>
                  <a:pt x="3047979" y="1615272"/>
                </a:lnTo>
                <a:lnTo>
                  <a:pt x="3048010" y="1605401"/>
                </a:lnTo>
                <a:lnTo>
                  <a:pt x="3047949" y="1605401"/>
                </a:lnTo>
                <a:lnTo>
                  <a:pt x="3047643" y="1508168"/>
                </a:lnTo>
                <a:cubicBezTo>
                  <a:pt x="2992473" y="613371"/>
                  <a:pt x="2161764" y="-215419"/>
                  <a:pt x="999102" y="50452"/>
                </a:cubicBezTo>
                <a:cubicBezTo>
                  <a:pt x="611548" y="139076"/>
                  <a:pt x="277117" y="129768"/>
                  <a:pt x="455" y="75081"/>
                </a:cubicBezTo>
                <a:lnTo>
                  <a:pt x="0" y="74973"/>
                </a:lnTo>
                <a:lnTo>
                  <a:pt x="0" y="3155571"/>
                </a:lnTo>
                <a:lnTo>
                  <a:pt x="455" y="3155463"/>
                </a:lnTo>
                <a:cubicBezTo>
                  <a:pt x="277117" y="3100776"/>
                  <a:pt x="611548" y="3091469"/>
                  <a:pt x="999102" y="3180092"/>
                </a:cubicBezTo>
                <a:cubicBezTo>
                  <a:pt x="1144435" y="3213326"/>
                  <a:pt x="1284581" y="3229456"/>
                  <a:pt x="1418673" y="3230491"/>
                </a:cubicBezTo>
                <a:close/>
              </a:path>
            </a:pathLst>
          </a:custGeom>
          <a:gradFill flip="none" rotWithShape="1">
            <a:gsLst>
              <a:gs pos="0">
                <a:srgbClr val="800000">
                  <a:tint val="66000"/>
                  <a:satMod val="160000"/>
                </a:srgbClr>
              </a:gs>
              <a:gs pos="50000">
                <a:srgbClr val="800000">
                  <a:tint val="44500"/>
                  <a:satMod val="160000"/>
                </a:srgbClr>
              </a:gs>
              <a:gs pos="100000">
                <a:srgbClr val="800000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678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3/10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953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Espace réservé du contenu 1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758" y="-15082"/>
            <a:ext cx="12215756" cy="6873081"/>
          </a:xfrm>
        </p:spPr>
      </p:pic>
      <p:sp>
        <p:nvSpPr>
          <p:cNvPr id="3" name="ZoneTexte 2"/>
          <p:cNvSpPr txBox="1"/>
          <p:nvPr/>
        </p:nvSpPr>
        <p:spPr>
          <a:xfrm>
            <a:off x="2619375" y="3638549"/>
            <a:ext cx="72390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jet de transformation 1.0</a:t>
            </a:r>
          </a:p>
          <a:p>
            <a:pPr algn="ctr"/>
            <a:r>
              <a:rPr lang="fr-FR" sz="4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U</a:t>
            </a:r>
          </a:p>
          <a:p>
            <a:pPr algn="ctr"/>
            <a:r>
              <a:rPr lang="fr-FR" sz="40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GROUPE MEDIA CONTACT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434898" y="6166624"/>
            <a:ext cx="23417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i="1" dirty="0">
                <a:solidFill>
                  <a:schemeClr val="bg1"/>
                </a:solidFill>
                <a:latin typeface="Arial Black"/>
                <a:cs typeface="Arial" pitchFamily="34" charset="0"/>
              </a:rPr>
              <a:t>☻</a:t>
            </a:r>
            <a:r>
              <a:rPr lang="fr-FR" sz="16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ctobre</a:t>
            </a:r>
            <a:r>
              <a:rPr lang="fr-FR" sz="1600" i="1" dirty="0">
                <a:solidFill>
                  <a:schemeClr val="bg1"/>
                </a:solidFill>
                <a:latin typeface="Arial Black"/>
                <a:cs typeface="Arial" pitchFamily="34" charset="0"/>
              </a:rPr>
              <a:t> </a:t>
            </a:r>
            <a:r>
              <a:rPr lang="fr-FR" sz="16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2</a:t>
            </a:r>
          </a:p>
        </p:txBody>
      </p:sp>
    </p:spTree>
    <p:extLst>
      <p:ext uri="{BB962C8B-B14F-4D97-AF65-F5344CB8AC3E}">
        <p14:creationId xmlns:p14="http://schemas.microsoft.com/office/powerpoint/2010/main" val="3598551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Image 7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87"/>
            <a:ext cx="10058400" cy="5659264"/>
          </a:xfrm>
          <a:prstGeom prst="rect">
            <a:avLst/>
          </a:prstGeom>
        </p:spPr>
      </p:pic>
      <p:sp>
        <p:nvSpPr>
          <p:cNvPr id="73" name="ZoneTexte 72"/>
          <p:cNvSpPr txBox="1"/>
          <p:nvPr/>
        </p:nvSpPr>
        <p:spPr>
          <a:xfrm>
            <a:off x="170506" y="43174"/>
            <a:ext cx="35233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du pilotage</a:t>
            </a:r>
          </a:p>
          <a:p>
            <a:pPr algn="ctr"/>
            <a:r>
              <a:rPr lang="fr-F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pe 2</a:t>
            </a:r>
            <a:endParaRPr lang="fr-FR" sz="2000" b="1" dirty="0">
              <a:solidFill>
                <a:schemeClr val="bg1"/>
              </a:solidFill>
            </a:endParaRPr>
          </a:p>
        </p:txBody>
      </p:sp>
      <p:sp>
        <p:nvSpPr>
          <p:cNvPr id="5" name="Rectangle à coins arrondis 8"/>
          <p:cNvSpPr/>
          <p:nvPr/>
        </p:nvSpPr>
        <p:spPr>
          <a:xfrm>
            <a:off x="588850" y="1027482"/>
            <a:ext cx="1980383" cy="408876"/>
          </a:xfrm>
          <a:prstGeom prst="roundRect">
            <a:avLst>
              <a:gd name="adj" fmla="val 12992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rIns="0" anchor="t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defRPr/>
            </a:pPr>
            <a:r>
              <a:rPr lang="fr-FR" altLang="fr-FR" sz="1000" b="1" kern="0" dirty="0">
                <a:solidFill>
                  <a:srgbClr val="000000"/>
                </a:solidFill>
                <a:latin typeface="Arial" charset="0"/>
                <a:ea typeface="MS PGothic" charset="0"/>
                <a:cs typeface="Arial" charset="0"/>
              </a:rPr>
              <a:t>Digitalisation et Transformation SI</a:t>
            </a:r>
          </a:p>
        </p:txBody>
      </p:sp>
      <p:grpSp>
        <p:nvGrpSpPr>
          <p:cNvPr id="6" name="Groupe 5"/>
          <p:cNvGrpSpPr/>
          <p:nvPr/>
        </p:nvGrpSpPr>
        <p:grpSpPr>
          <a:xfrm>
            <a:off x="261331" y="1080611"/>
            <a:ext cx="376942" cy="355746"/>
            <a:chOff x="377314" y="1605211"/>
            <a:chExt cx="376942" cy="285007"/>
          </a:xfrm>
        </p:grpSpPr>
        <p:sp>
          <p:nvSpPr>
            <p:cNvPr id="7" name="Rectangle à coins arrondis 65"/>
            <p:cNvSpPr>
              <a:spLocks noChangeAspect="1"/>
            </p:cNvSpPr>
            <p:nvPr/>
          </p:nvSpPr>
          <p:spPr bwMode="auto">
            <a:xfrm>
              <a:off x="449583" y="1650931"/>
              <a:ext cx="304673" cy="239287"/>
            </a:xfrm>
            <a:prstGeom prst="roundRect">
              <a:avLst>
                <a:gd name="adj" fmla="val 11536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à coins arrondis 66"/>
            <p:cNvSpPr>
              <a:spLocks noChangeAspect="1"/>
            </p:cNvSpPr>
            <p:nvPr/>
          </p:nvSpPr>
          <p:spPr bwMode="auto">
            <a:xfrm>
              <a:off x="377314" y="1605211"/>
              <a:ext cx="182156" cy="186046"/>
            </a:xfrm>
            <a:prstGeom prst="roundRect">
              <a:avLst>
                <a:gd name="adj" fmla="val 19725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000" b="1" kern="0" spc="-10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itchFamily="34" charset="0"/>
                  <a:cs typeface="Arial" pitchFamily="34" charset="0"/>
                </a:rPr>
                <a:t>7</a:t>
              </a:r>
            </a:p>
          </p:txBody>
        </p:sp>
      </p:grpSp>
      <p:sp>
        <p:nvSpPr>
          <p:cNvPr id="9" name="ZoneTexte 8"/>
          <p:cNvSpPr txBox="1"/>
          <p:nvPr/>
        </p:nvSpPr>
        <p:spPr>
          <a:xfrm>
            <a:off x="3693836" y="298383"/>
            <a:ext cx="55849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latin typeface="Helvetica" panose="020B0604020202020204" pitchFamily="34" charset="0"/>
                <a:cs typeface="Helvetica" panose="020B0604020202020204" pitchFamily="34" charset="0"/>
              </a:rPr>
              <a:t>AUTO ÉVALUATION DU STREAM LEADER</a:t>
            </a:r>
          </a:p>
        </p:txBody>
      </p:sp>
      <p:graphicFrame>
        <p:nvGraphicFramePr>
          <p:cNvPr id="10" name="Tableau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0186469"/>
              </p:ext>
            </p:extLst>
          </p:nvPr>
        </p:nvGraphicFramePr>
        <p:xfrm>
          <a:off x="2987090" y="792039"/>
          <a:ext cx="7051038" cy="251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03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86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420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Note/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ommentai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ompréhension de la mis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onduite de proj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40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Respect du plan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40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Disponibilité / réactivit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Qualité de la documentation fourn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1" name="Tableau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4489402"/>
              </p:ext>
            </p:extLst>
          </p:nvPr>
        </p:nvGraphicFramePr>
        <p:xfrm>
          <a:off x="2987090" y="3459778"/>
          <a:ext cx="8190030" cy="3234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00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0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300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8299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400" kern="1200" dirty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For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Faibles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ttentes pour palier</a:t>
                      </a:r>
                      <a:r>
                        <a:rPr lang="fr-FR" sz="1400" baseline="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aux faiblesses</a:t>
                      </a:r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2995"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dentification des faiblesses logiciel sur le contact center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dentification  des faiblesses matériel sur le contact center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Mesure d’atténuation de ces faiblesses en un temps réduit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PCA en cours de finalisati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Manque de logiciel digital sur tous les canaux du contact center selon la norme COPC</a:t>
                      </a:r>
                    </a:p>
                    <a:p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nvestir dans le </a:t>
                      </a:r>
                      <a:r>
                        <a:rPr lang="fr-FR" sz="1400" dirty="0" err="1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hatbot</a:t>
                      </a:r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pour améliorer la digitalisation du contact center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r-FR" sz="14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Mettre en place de PCA</a:t>
                      </a:r>
                    </a:p>
                    <a:p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endParaRPr lang="fr-FR" sz="14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2" name="Rectangle à coins arrondis 8"/>
          <p:cNvSpPr/>
          <p:nvPr/>
        </p:nvSpPr>
        <p:spPr>
          <a:xfrm>
            <a:off x="346218" y="2250798"/>
            <a:ext cx="2333627" cy="504212"/>
          </a:xfrm>
          <a:prstGeom prst="roundRect">
            <a:avLst>
              <a:gd name="adj" fmla="val 8408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Améliorer en permanence les systèmes digitaux de contact direct et indirect d'accueil et d'assistance à la clientèle</a:t>
            </a:r>
          </a:p>
        </p:txBody>
      </p:sp>
      <p:sp>
        <p:nvSpPr>
          <p:cNvPr id="13" name="Rectangle à coins arrondis 8"/>
          <p:cNvSpPr/>
          <p:nvPr/>
        </p:nvSpPr>
        <p:spPr>
          <a:xfrm>
            <a:off x="335734" y="2812060"/>
            <a:ext cx="2354594" cy="636021"/>
          </a:xfrm>
          <a:prstGeom prst="roundRect">
            <a:avLst>
              <a:gd name="adj" fmla="val 8408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Niveau de Service 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Fonctionnalité des système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Taux de traitement Autonome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Taux de défauts</a:t>
            </a:r>
          </a:p>
        </p:txBody>
      </p:sp>
      <p:sp>
        <p:nvSpPr>
          <p:cNvPr id="14" name="Rectangle à coins arrondis 8"/>
          <p:cNvSpPr/>
          <p:nvPr/>
        </p:nvSpPr>
        <p:spPr>
          <a:xfrm>
            <a:off x="356703" y="1526078"/>
            <a:ext cx="2333628" cy="637234"/>
          </a:xfrm>
          <a:prstGeom prst="roundRect">
            <a:avLst>
              <a:gd name="adj" fmla="val 8408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ordonner tous les besoins de parcours à digitaliser – analyser et proposer un plan de mise en œuvre (ressources – délai)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nduire les projets infrastructures SI</a:t>
            </a:r>
          </a:p>
        </p:txBody>
      </p:sp>
      <p:sp>
        <p:nvSpPr>
          <p:cNvPr id="15" name="Rectangle à coins arrondis 8"/>
          <p:cNvSpPr/>
          <p:nvPr/>
        </p:nvSpPr>
        <p:spPr>
          <a:xfrm>
            <a:off x="325251" y="3491192"/>
            <a:ext cx="2354594" cy="638054"/>
          </a:xfrm>
          <a:prstGeom prst="roundRect">
            <a:avLst>
              <a:gd name="adj" fmla="val 8408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xactitude d'Erreur Critique Client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xactitude d'Erreur Critique Activité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xactitude d'Erreur Critique Conformité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Résolution de contact</a:t>
            </a:r>
          </a:p>
        </p:txBody>
      </p:sp>
      <p:sp>
        <p:nvSpPr>
          <p:cNvPr id="16" name="Rectangle à coins arrondis 8"/>
          <p:cNvSpPr/>
          <p:nvPr/>
        </p:nvSpPr>
        <p:spPr>
          <a:xfrm>
            <a:off x="110323" y="4429236"/>
            <a:ext cx="2784450" cy="2241073"/>
          </a:xfrm>
          <a:prstGeom prst="roundRect">
            <a:avLst>
              <a:gd name="adj" fmla="val 657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lvl="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ordonner tous les besoins de parcours à digitaliser – analyser et proposer un plan de mise en œuvre (ressources – délai)</a:t>
            </a:r>
          </a:p>
          <a:p>
            <a:pPr marL="171450" lvl="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FF00"/>
              </a:buClr>
              <a:buFont typeface="Wingdings" panose="05000000000000000000" pitchFamily="2" charset="2"/>
              <a:buChar char="ü"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nduire les projets infrastructures SI</a:t>
            </a:r>
          </a:p>
          <a:p>
            <a:pPr marL="171450" lvl="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FF00"/>
              </a:buClr>
              <a:buFont typeface="Wingdings" panose="05000000000000000000" pitchFamily="2" charset="2"/>
              <a:buChar char="ü"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Améliorer en permanence les systèmes digitaux de contact direct et indirect d'accueil et d'assistance à la clientèle</a:t>
            </a:r>
          </a:p>
          <a:p>
            <a:pPr marL="171450" lvl="0" indent="-171450" eaLnBrk="0" fontAlgn="ctr" hangingPunct="0">
              <a:lnSpc>
                <a:spcPts val="1100"/>
              </a:lnSpc>
              <a:spcBef>
                <a:spcPts val="60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Niveau de Service </a:t>
            </a:r>
          </a:p>
          <a:p>
            <a:pPr marL="171450" lvl="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Fonctionnalité des systèmes</a:t>
            </a:r>
          </a:p>
          <a:p>
            <a:pPr marL="171450" lvl="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Taux de traitement Autonome</a:t>
            </a:r>
          </a:p>
          <a:p>
            <a:pPr marL="171450" lvl="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Taux de défauts</a:t>
            </a:r>
          </a:p>
          <a:p>
            <a:pPr marL="171450" lvl="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xactitude d'Erreur Critique Client</a:t>
            </a:r>
          </a:p>
          <a:p>
            <a:pPr marL="171450" lvl="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xactitude d'Erreur Critique Activité</a:t>
            </a:r>
          </a:p>
          <a:p>
            <a:pPr marL="171450" lvl="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xactitude d'Erreur Critique Conformité</a:t>
            </a:r>
          </a:p>
          <a:p>
            <a:pPr marL="171450" lvl="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105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Résolution de contact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38273" y="4279919"/>
            <a:ext cx="1712068" cy="2023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/>
              <a:t>Ce qui a été fait</a:t>
            </a:r>
          </a:p>
        </p:txBody>
      </p:sp>
    </p:spTree>
    <p:extLst>
      <p:ext uri="{BB962C8B-B14F-4D97-AF65-F5344CB8AC3E}">
        <p14:creationId xmlns:p14="http://schemas.microsoft.com/office/powerpoint/2010/main" val="37046161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3000">
        <p15:prstTrans prst="pageCurlDouble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0058400" cy="5659264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20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250</TotalTime>
  <Words>273</Words>
  <Application>Microsoft Office PowerPoint</Application>
  <PresentationFormat>Grand écran</PresentationFormat>
  <Paragraphs>56</Paragraphs>
  <Slides>3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Garamond</vt:lpstr>
      <vt:lpstr>Helvetica</vt:lpstr>
      <vt:lpstr>Wingdings</vt:lpstr>
      <vt:lpstr>Thème Office</vt:lpstr>
      <vt:lpstr>2_Thème Office</vt:lpstr>
      <vt:lpstr>Diapositive think-cell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MMAIRE</dc:title>
  <dc:creator>Leandre AGUIAH</dc:creator>
  <cp:lastModifiedBy>Léandre Aguiah</cp:lastModifiedBy>
  <cp:revision>1538</cp:revision>
  <dcterms:created xsi:type="dcterms:W3CDTF">2015-10-14T16:42:27Z</dcterms:created>
  <dcterms:modified xsi:type="dcterms:W3CDTF">2022-10-03T17:22:51Z</dcterms:modified>
</cp:coreProperties>
</file>